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A7124F-EA23-4444-A1A5-922664C4BF98}" v="49" dt="2023-03-16T22:59:39.3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2" d="100"/>
          <a:sy n="112" d="100"/>
        </p:scale>
        <p:origin x="138" y="34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20A7124F-EA23-4444-A1A5-922664C4BF98}"/>
    <pc:docChg chg="modSld">
      <pc:chgData name="Roberto Gallardo" userId="49a044883f185952" providerId="LiveId" clId="{20A7124F-EA23-4444-A1A5-922664C4BF98}" dt="2023-03-16T22:59:48.902" v="395" actId="1036"/>
      <pc:docMkLst>
        <pc:docMk/>
      </pc:docMkLst>
      <pc:sldChg chg="addSp modSp mod">
        <pc:chgData name="Roberto Gallardo" userId="49a044883f185952" providerId="LiveId" clId="{20A7124F-EA23-4444-A1A5-922664C4BF98}" dt="2023-03-16T22:54:42.743" v="7" actId="1076"/>
        <pc:sldMkLst>
          <pc:docMk/>
          <pc:sldMk cId="1418533539" sldId="271"/>
        </pc:sldMkLst>
        <pc:picChg chg="add mod">
          <ac:chgData name="Roberto Gallardo" userId="49a044883f185952" providerId="LiveId" clId="{20A7124F-EA23-4444-A1A5-922664C4BF98}" dt="2023-03-16T22:54:42.743" v="7" actId="1076"/>
          <ac:picMkLst>
            <pc:docMk/>
            <pc:sldMk cId="1418533539" sldId="271"/>
            <ac:picMk id="6" creationId="{7FFAF439-235F-B90A-74C6-6E310EF943FA}"/>
          </ac:picMkLst>
        </pc:picChg>
      </pc:sldChg>
      <pc:sldChg chg="addSp modSp mod">
        <pc:chgData name="Roberto Gallardo" userId="49a044883f185952" providerId="LiveId" clId="{20A7124F-EA23-4444-A1A5-922664C4BF98}" dt="2023-03-16T22:56:21.239" v="114" actId="1036"/>
        <pc:sldMkLst>
          <pc:docMk/>
          <pc:sldMk cId="2124848710" sldId="281"/>
        </pc:sldMkLst>
        <pc:picChg chg="add mod">
          <ac:chgData name="Roberto Gallardo" userId="49a044883f185952" providerId="LiveId" clId="{20A7124F-EA23-4444-A1A5-922664C4BF98}" dt="2023-03-16T22:56:21.239" v="114" actId="1036"/>
          <ac:picMkLst>
            <pc:docMk/>
            <pc:sldMk cId="2124848710" sldId="281"/>
            <ac:picMk id="6" creationId="{BC7BEE35-0EF5-8F3A-6BE2-39D94D7107A1}"/>
          </ac:picMkLst>
        </pc:picChg>
      </pc:sldChg>
      <pc:sldChg chg="addSp modSp mod">
        <pc:chgData name="Roberto Gallardo" userId="49a044883f185952" providerId="LiveId" clId="{20A7124F-EA23-4444-A1A5-922664C4BF98}" dt="2023-03-16T22:56:39.535" v="140" actId="1036"/>
        <pc:sldMkLst>
          <pc:docMk/>
          <pc:sldMk cId="2028175529" sldId="282"/>
        </pc:sldMkLst>
        <pc:picChg chg="add mod">
          <ac:chgData name="Roberto Gallardo" userId="49a044883f185952" providerId="LiveId" clId="{20A7124F-EA23-4444-A1A5-922664C4BF98}" dt="2023-03-16T22:56:39.535" v="140" actId="1036"/>
          <ac:picMkLst>
            <pc:docMk/>
            <pc:sldMk cId="2028175529" sldId="282"/>
            <ac:picMk id="7" creationId="{BA4F224D-EC6A-44DA-14E5-07AC7469D280}"/>
          </ac:picMkLst>
        </pc:picChg>
      </pc:sldChg>
      <pc:sldChg chg="addSp modSp mod">
        <pc:chgData name="Roberto Gallardo" userId="49a044883f185952" providerId="LiveId" clId="{20A7124F-EA23-4444-A1A5-922664C4BF98}" dt="2023-03-16T22:56:55" v="162" actId="1036"/>
        <pc:sldMkLst>
          <pc:docMk/>
          <pc:sldMk cId="1326517747" sldId="283"/>
        </pc:sldMkLst>
        <pc:picChg chg="add mod">
          <ac:chgData name="Roberto Gallardo" userId="49a044883f185952" providerId="LiveId" clId="{20A7124F-EA23-4444-A1A5-922664C4BF98}" dt="2023-03-16T22:56:55" v="162" actId="1036"/>
          <ac:picMkLst>
            <pc:docMk/>
            <pc:sldMk cId="1326517747" sldId="283"/>
            <ac:picMk id="7" creationId="{FF80C6DB-5B85-6CCA-733B-536D77C16FEC}"/>
          </ac:picMkLst>
        </pc:picChg>
      </pc:sldChg>
      <pc:sldChg chg="addSp modSp mod">
        <pc:chgData name="Roberto Gallardo" userId="49a044883f185952" providerId="LiveId" clId="{20A7124F-EA23-4444-A1A5-922664C4BF98}" dt="2023-03-16T22:57:13.940" v="187" actId="1035"/>
        <pc:sldMkLst>
          <pc:docMk/>
          <pc:sldMk cId="783739251" sldId="284"/>
        </pc:sldMkLst>
        <pc:picChg chg="add mod">
          <ac:chgData name="Roberto Gallardo" userId="49a044883f185952" providerId="LiveId" clId="{20A7124F-EA23-4444-A1A5-922664C4BF98}" dt="2023-03-16T22:57:13.940" v="187" actId="1035"/>
          <ac:picMkLst>
            <pc:docMk/>
            <pc:sldMk cId="783739251" sldId="284"/>
            <ac:picMk id="7" creationId="{D7C0FA32-723B-9379-27EA-D4B91EB2602D}"/>
          </ac:picMkLst>
        </pc:picChg>
      </pc:sldChg>
      <pc:sldChg chg="addSp modSp mod">
        <pc:chgData name="Roberto Gallardo" userId="49a044883f185952" providerId="LiveId" clId="{20A7124F-EA23-4444-A1A5-922664C4BF98}" dt="2023-03-16T22:57:30.754" v="211" actId="1035"/>
        <pc:sldMkLst>
          <pc:docMk/>
          <pc:sldMk cId="1676122233" sldId="285"/>
        </pc:sldMkLst>
        <pc:picChg chg="add mod">
          <ac:chgData name="Roberto Gallardo" userId="49a044883f185952" providerId="LiveId" clId="{20A7124F-EA23-4444-A1A5-922664C4BF98}" dt="2023-03-16T22:57:30.754" v="211" actId="1035"/>
          <ac:picMkLst>
            <pc:docMk/>
            <pc:sldMk cId="1676122233" sldId="285"/>
            <ac:picMk id="7" creationId="{F0328187-E5D1-2102-DBC2-CEB505A8A2B6}"/>
          </ac:picMkLst>
        </pc:picChg>
      </pc:sldChg>
      <pc:sldChg chg="addSp modSp mod">
        <pc:chgData name="Roberto Gallardo" userId="49a044883f185952" providerId="LiveId" clId="{20A7124F-EA23-4444-A1A5-922664C4BF98}" dt="2023-03-16T22:57:47.680" v="238" actId="1035"/>
        <pc:sldMkLst>
          <pc:docMk/>
          <pc:sldMk cId="3100398757" sldId="286"/>
        </pc:sldMkLst>
        <pc:picChg chg="add mod">
          <ac:chgData name="Roberto Gallardo" userId="49a044883f185952" providerId="LiveId" clId="{20A7124F-EA23-4444-A1A5-922664C4BF98}" dt="2023-03-16T22:57:47.680" v="238" actId="1035"/>
          <ac:picMkLst>
            <pc:docMk/>
            <pc:sldMk cId="3100398757" sldId="286"/>
            <ac:picMk id="7" creationId="{BF995B37-7ED2-36D3-34DA-AD46C46E7B90}"/>
          </ac:picMkLst>
        </pc:picChg>
      </pc:sldChg>
      <pc:sldChg chg="addSp modSp mod">
        <pc:chgData name="Roberto Gallardo" userId="49a044883f185952" providerId="LiveId" clId="{20A7124F-EA23-4444-A1A5-922664C4BF98}" dt="2023-03-16T22:58:05.488" v="257" actId="1035"/>
        <pc:sldMkLst>
          <pc:docMk/>
          <pc:sldMk cId="1546475425" sldId="287"/>
        </pc:sldMkLst>
        <pc:picChg chg="add mod">
          <ac:chgData name="Roberto Gallardo" userId="49a044883f185952" providerId="LiveId" clId="{20A7124F-EA23-4444-A1A5-922664C4BF98}" dt="2023-03-16T22:58:05.488" v="257" actId="1035"/>
          <ac:picMkLst>
            <pc:docMk/>
            <pc:sldMk cId="1546475425" sldId="287"/>
            <ac:picMk id="7" creationId="{1F0D3093-61D9-21A2-B359-DFBB73A91DB6}"/>
          </ac:picMkLst>
        </pc:picChg>
      </pc:sldChg>
      <pc:sldChg chg="addSp modSp mod">
        <pc:chgData name="Roberto Gallardo" userId="49a044883f185952" providerId="LiveId" clId="{20A7124F-EA23-4444-A1A5-922664C4BF98}" dt="2023-03-16T22:58:43.550" v="303" actId="1035"/>
        <pc:sldMkLst>
          <pc:docMk/>
          <pc:sldMk cId="1380517306" sldId="288"/>
        </pc:sldMkLst>
        <pc:picChg chg="add mod">
          <ac:chgData name="Roberto Gallardo" userId="49a044883f185952" providerId="LiveId" clId="{20A7124F-EA23-4444-A1A5-922664C4BF98}" dt="2023-03-16T22:58:43.550" v="303" actId="1035"/>
          <ac:picMkLst>
            <pc:docMk/>
            <pc:sldMk cId="1380517306" sldId="288"/>
            <ac:picMk id="7" creationId="{75728829-C6BA-7588-2502-4E14AB14430A}"/>
          </ac:picMkLst>
        </pc:picChg>
      </pc:sldChg>
      <pc:sldChg chg="addSp modSp mod">
        <pc:chgData name="Roberto Gallardo" userId="49a044883f185952" providerId="LiveId" clId="{20A7124F-EA23-4444-A1A5-922664C4BF98}" dt="2023-03-16T22:58:58.252" v="327" actId="1036"/>
        <pc:sldMkLst>
          <pc:docMk/>
          <pc:sldMk cId="1388671151" sldId="289"/>
        </pc:sldMkLst>
        <pc:picChg chg="add mod">
          <ac:chgData name="Roberto Gallardo" userId="49a044883f185952" providerId="LiveId" clId="{20A7124F-EA23-4444-A1A5-922664C4BF98}" dt="2023-03-16T22:58:58.252" v="327" actId="1036"/>
          <ac:picMkLst>
            <pc:docMk/>
            <pc:sldMk cId="1388671151" sldId="289"/>
            <ac:picMk id="7" creationId="{9BC7FC7B-450B-21BB-0E5A-A711F80D135B}"/>
          </ac:picMkLst>
        </pc:picChg>
      </pc:sldChg>
      <pc:sldChg chg="addSp modSp mod">
        <pc:chgData name="Roberto Gallardo" userId="49a044883f185952" providerId="LiveId" clId="{20A7124F-EA23-4444-A1A5-922664C4BF98}" dt="2023-03-16T22:59:33.366" v="382" actId="1036"/>
        <pc:sldMkLst>
          <pc:docMk/>
          <pc:sldMk cId="2355376039" sldId="290"/>
        </pc:sldMkLst>
        <pc:picChg chg="add mod">
          <ac:chgData name="Roberto Gallardo" userId="49a044883f185952" providerId="LiveId" clId="{20A7124F-EA23-4444-A1A5-922664C4BF98}" dt="2023-03-16T22:59:33.366" v="382" actId="1036"/>
          <ac:picMkLst>
            <pc:docMk/>
            <pc:sldMk cId="2355376039" sldId="290"/>
            <ac:picMk id="8" creationId="{FE4544DF-F436-37E6-3A93-BDE7BD72DE98}"/>
          </ac:picMkLst>
        </pc:picChg>
      </pc:sldChg>
      <pc:sldChg chg="addSp modSp mod">
        <pc:chgData name="Roberto Gallardo" userId="49a044883f185952" providerId="LiveId" clId="{20A7124F-EA23-4444-A1A5-922664C4BF98}" dt="2023-03-16T22:59:48.902" v="395" actId="1036"/>
        <pc:sldMkLst>
          <pc:docMk/>
          <pc:sldMk cId="3757257295" sldId="291"/>
        </pc:sldMkLst>
        <pc:picChg chg="add mod">
          <ac:chgData name="Roberto Gallardo" userId="49a044883f185952" providerId="LiveId" clId="{20A7124F-EA23-4444-A1A5-922664C4BF98}" dt="2023-03-16T22:59:48.902" v="395" actId="1036"/>
          <ac:picMkLst>
            <pc:docMk/>
            <pc:sldMk cId="3757257295" sldId="291"/>
            <ac:picMk id="8" creationId="{3847D2B2-1917-01AF-8C79-D371FE82ADAD}"/>
          </ac:picMkLst>
        </pc:picChg>
      </pc:sldChg>
      <pc:sldChg chg="addSp modSp mod">
        <pc:chgData name="Roberto Gallardo" userId="49a044883f185952" providerId="LiveId" clId="{20A7124F-EA23-4444-A1A5-922664C4BF98}" dt="2023-03-16T22:58:26.756" v="281" actId="1036"/>
        <pc:sldMkLst>
          <pc:docMk/>
          <pc:sldMk cId="1259856727" sldId="292"/>
        </pc:sldMkLst>
        <pc:picChg chg="add mod">
          <ac:chgData name="Roberto Gallardo" userId="49a044883f185952" providerId="LiveId" clId="{20A7124F-EA23-4444-A1A5-922664C4BF98}" dt="2023-03-16T22:58:26.756" v="281" actId="1036"/>
          <ac:picMkLst>
            <pc:docMk/>
            <pc:sldMk cId="1259856727" sldId="292"/>
            <ac:picMk id="7" creationId="{0031D4AA-4B4F-FC41-EC11-5653E4932469}"/>
          </ac:picMkLst>
        </pc:picChg>
      </pc:sldChg>
      <pc:sldChg chg="addSp modSp mod">
        <pc:chgData name="Roberto Gallardo" userId="49a044883f185952" providerId="LiveId" clId="{20A7124F-EA23-4444-A1A5-922664C4BF98}" dt="2023-03-16T22:56:04.170" v="91" actId="1035"/>
        <pc:sldMkLst>
          <pc:docMk/>
          <pc:sldMk cId="3324519687" sldId="293"/>
        </pc:sldMkLst>
        <pc:picChg chg="add mod">
          <ac:chgData name="Roberto Gallardo" userId="49a044883f185952" providerId="LiveId" clId="{20A7124F-EA23-4444-A1A5-922664C4BF98}" dt="2023-03-16T22:56:04.170" v="91" actId="1035"/>
          <ac:picMkLst>
            <pc:docMk/>
            <pc:sldMk cId="3324519687" sldId="293"/>
            <ac:picMk id="7" creationId="{739B2307-2E86-AEDD-F063-51E5154C69B4}"/>
          </ac:picMkLst>
        </pc:picChg>
      </pc:sldChg>
      <pc:sldChg chg="addSp modSp mod">
        <pc:chgData name="Roberto Gallardo" userId="49a044883f185952" providerId="LiveId" clId="{20A7124F-EA23-4444-A1A5-922664C4BF98}" dt="2023-03-16T22:55:28.295" v="31" actId="1076"/>
        <pc:sldMkLst>
          <pc:docMk/>
          <pc:sldMk cId="3256182630" sldId="295"/>
        </pc:sldMkLst>
        <pc:picChg chg="add mod">
          <ac:chgData name="Roberto Gallardo" userId="49a044883f185952" providerId="LiveId" clId="{20A7124F-EA23-4444-A1A5-922664C4BF98}" dt="2023-03-16T22:55:28.295" v="31" actId="1076"/>
          <ac:picMkLst>
            <pc:docMk/>
            <pc:sldMk cId="3256182630" sldId="295"/>
            <ac:picMk id="7" creationId="{2E255061-A343-4FB6-AE4F-D949F6F3D399}"/>
          </ac:picMkLst>
        </pc:picChg>
      </pc:sldChg>
      <pc:sldChg chg="addSp modSp mod">
        <pc:chgData name="Roberto Gallardo" userId="49a044883f185952" providerId="LiveId" clId="{20A7124F-EA23-4444-A1A5-922664C4BF98}" dt="2023-03-16T22:55:45.475" v="58" actId="1036"/>
        <pc:sldMkLst>
          <pc:docMk/>
          <pc:sldMk cId="4057156843" sldId="296"/>
        </pc:sldMkLst>
        <pc:picChg chg="add mod">
          <ac:chgData name="Roberto Gallardo" userId="49a044883f185952" providerId="LiveId" clId="{20A7124F-EA23-4444-A1A5-922664C4BF98}" dt="2023-03-16T22:55:45.475" v="58" actId="1036"/>
          <ac:picMkLst>
            <pc:docMk/>
            <pc:sldMk cId="4057156843" sldId="296"/>
            <ac:picMk id="7" creationId="{F80CB0A2-5133-52A0-99F1-DFCFAA594DA5}"/>
          </ac:picMkLst>
        </pc:picChg>
      </pc:sldChg>
      <pc:sldChg chg="addSp modSp mod">
        <pc:chgData name="Roberto Gallardo" userId="49a044883f185952" providerId="LiveId" clId="{20A7124F-EA23-4444-A1A5-922664C4BF98}" dt="2023-03-16T22:55:15.464" v="24" actId="1076"/>
        <pc:sldMkLst>
          <pc:docMk/>
          <pc:sldMk cId="2080110827" sldId="297"/>
        </pc:sldMkLst>
        <pc:picChg chg="add mod">
          <ac:chgData name="Roberto Gallardo" userId="49a044883f185952" providerId="LiveId" clId="{20A7124F-EA23-4444-A1A5-922664C4BF98}" dt="2023-03-16T22:55:15.464" v="24" actId="1076"/>
          <ac:picMkLst>
            <pc:docMk/>
            <pc:sldMk cId="2080110827" sldId="297"/>
            <ac:picMk id="6" creationId="{D42E531F-3317-7369-72BF-5289D2CD5B0B}"/>
          </ac:picMkLst>
        </pc:picChg>
      </pc:sldChg>
      <pc:sldChg chg="addSp modSp mod">
        <pc:chgData name="Roberto Gallardo" userId="49a044883f185952" providerId="LiveId" clId="{20A7124F-EA23-4444-A1A5-922664C4BF98}" dt="2023-03-16T22:54:56.351" v="15" actId="1076"/>
        <pc:sldMkLst>
          <pc:docMk/>
          <pc:sldMk cId="1532666867" sldId="298"/>
        </pc:sldMkLst>
        <pc:picChg chg="add mod">
          <ac:chgData name="Roberto Gallardo" userId="49a044883f185952" providerId="LiveId" clId="{20A7124F-EA23-4444-A1A5-922664C4BF98}" dt="2023-03-16T22:54:56.351" v="15" actId="1076"/>
          <ac:picMkLst>
            <pc:docMk/>
            <pc:sldMk cId="1532666867" sldId="298"/>
            <ac:picMk id="6" creationId="{3F85EDC5-9460-6161-93C6-44D7A7D6F9F1}"/>
          </ac:picMkLst>
        </pc:picChg>
      </pc:sldChg>
      <pc:sldChg chg="addSp modSp mod">
        <pc:chgData name="Roberto Gallardo" userId="49a044883f185952" providerId="LiveId" clId="{20A7124F-EA23-4444-A1A5-922664C4BF98}" dt="2023-03-16T22:59:15.815" v="359" actId="1035"/>
        <pc:sldMkLst>
          <pc:docMk/>
          <pc:sldMk cId="1951376777" sldId="299"/>
        </pc:sldMkLst>
        <pc:picChg chg="add mod">
          <ac:chgData name="Roberto Gallardo" userId="49a044883f185952" providerId="LiveId" clId="{20A7124F-EA23-4444-A1A5-922664C4BF98}" dt="2023-03-16T22:59:15.815" v="359" actId="1035"/>
          <ac:picMkLst>
            <pc:docMk/>
            <pc:sldMk cId="1951376777" sldId="299"/>
            <ac:picMk id="7" creationId="{09883F6E-DC4F-735F-5AFC-D4E23600C9E1}"/>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Orange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93606A5-ABBA-DBF3-CDE1-879686A3C215}"/>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97F7F34E-B2DE-8919-93CA-E45198797C6B}"/>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Chart, map, surface chart&#10;&#10;Description automatically generated">
            <a:extLst>
              <a:ext uri="{FF2B5EF4-FFF2-40B4-BE49-F238E27FC236}">
                <a16:creationId xmlns:a16="http://schemas.microsoft.com/office/drawing/2014/main" id="{7FFAF439-235F-B90A-74C6-6E310EF943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3F85EDC5-9460-6161-93C6-44D7A7D6F9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D42E531F-3317-7369-72BF-5289D2CD5B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3" y="1028701"/>
            <a:ext cx="7596754" cy="5372099"/>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3196EFC4-31C4-7416-D9F8-F97F3E030502}"/>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2E255061-A343-4FB6-AE4F-D949F6F3D3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2111C4AE-5F99-CACF-0D68-56CDD92EC68E}"/>
              </a:ext>
            </a:extLst>
          </p:cNvPr>
          <p:cNvPicPr/>
          <p:nvPr/>
        </p:nvPicPr>
        <p:blipFill>
          <a:blip r:embed="rId2"/>
          <a:stretch>
            <a:fillRect/>
          </a:stretch>
        </p:blipFill>
        <p:spPr>
          <a:xfrm>
            <a:off x="152399" y="1798955"/>
            <a:ext cx="5308853" cy="3800656"/>
          </a:xfrm>
          <a:prstGeom prst="rect">
            <a:avLst/>
          </a:prstGeom>
        </p:spPr>
      </p:pic>
      <p:pic>
        <p:nvPicPr>
          <p:cNvPr id="7" name="Picture 6" descr="Chart, map&#10;&#10;Description automatically generated">
            <a:extLst>
              <a:ext uri="{FF2B5EF4-FFF2-40B4-BE49-F238E27FC236}">
                <a16:creationId xmlns:a16="http://schemas.microsoft.com/office/drawing/2014/main" id="{F80CB0A2-5133-52A0-99F1-DFCFAA594D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6560"/>
            <a:ext cx="6400801"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04555EBD-FDBF-C5B2-B140-509869A4AE6A}"/>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739B2307-2E86-AEDD-F063-51E5154C69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4316"/>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3DA231B-D46F-E35F-E60B-E20B2D71EA34}"/>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BC7BEE35-0EF5-8F3A-6BE2-39D94D7107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896"/>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37B1B729-8864-03AB-D6DC-FA1C479F1CF0}"/>
              </a:ext>
            </a:extLst>
          </p:cNvPr>
          <p:cNvPicPr/>
          <p:nvPr/>
        </p:nvPicPr>
        <p:blipFill>
          <a:blip r:embed="rId2"/>
          <a:stretch>
            <a:fillRect/>
          </a:stretch>
        </p:blipFill>
        <p:spPr>
          <a:xfrm>
            <a:off x="152400" y="1791789"/>
            <a:ext cx="5298659" cy="3746863"/>
          </a:xfrm>
          <a:prstGeom prst="rect">
            <a:avLst/>
          </a:prstGeom>
        </p:spPr>
      </p:pic>
      <p:pic>
        <p:nvPicPr>
          <p:cNvPr id="7" name="Picture 6" descr="Chart, map&#10;&#10;Description automatically generated">
            <a:extLst>
              <a:ext uri="{FF2B5EF4-FFF2-40B4-BE49-F238E27FC236}">
                <a16:creationId xmlns:a16="http://schemas.microsoft.com/office/drawing/2014/main" id="{BA4F224D-EC6A-44DA-14E5-07AC7469D2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510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E079717-3DB9-F4C7-7506-4BB64B7A04E7}"/>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FF80C6DB-5B85-6CCA-733B-536D77C16F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5105"/>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AFC4FBF-A809-9BA4-449D-9DBF2C3DC9F7}"/>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D7C0FA32-723B-9379-27EA-D4B91EB260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5104"/>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C10E420-DFA2-4A06-42BC-CBD336CD165E}"/>
              </a:ext>
            </a:extLst>
          </p:cNvPr>
          <p:cNvPicPr/>
          <p:nvPr/>
        </p:nvPicPr>
        <p:blipFill>
          <a:blip r:embed="rId2"/>
          <a:stretch>
            <a:fillRect/>
          </a:stretch>
        </p:blipFill>
        <p:spPr>
          <a:xfrm>
            <a:off x="159053" y="1774372"/>
            <a:ext cx="5289247" cy="3790406"/>
          </a:xfrm>
          <a:prstGeom prst="rect">
            <a:avLst/>
          </a:prstGeom>
        </p:spPr>
      </p:pic>
      <p:pic>
        <p:nvPicPr>
          <p:cNvPr id="7" name="Picture 6" descr="Chart, map&#10;&#10;Description automatically generated">
            <a:extLst>
              <a:ext uri="{FF2B5EF4-FFF2-40B4-BE49-F238E27FC236}">
                <a16:creationId xmlns:a16="http://schemas.microsoft.com/office/drawing/2014/main" id="{F0328187-E5D1-2102-DBC2-CEB505A8A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6487"/>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8EF84A0-C32F-3815-33FA-FF5F410C554C}"/>
              </a:ext>
            </a:extLst>
          </p:cNvPr>
          <p:cNvPicPr/>
          <p:nvPr/>
        </p:nvPicPr>
        <p:blipFill>
          <a:blip r:embed="rId2"/>
          <a:stretch>
            <a:fillRect/>
          </a:stretch>
        </p:blipFill>
        <p:spPr>
          <a:xfrm>
            <a:off x="156535" y="1774372"/>
            <a:ext cx="5295900" cy="3798070"/>
          </a:xfrm>
          <a:prstGeom prst="rect">
            <a:avLst/>
          </a:prstGeom>
        </p:spPr>
      </p:pic>
      <p:pic>
        <p:nvPicPr>
          <p:cNvPr id="7" name="Picture 6" descr="Chart, map, surface chart&#10;&#10;Description automatically generated">
            <a:extLst>
              <a:ext uri="{FF2B5EF4-FFF2-40B4-BE49-F238E27FC236}">
                <a16:creationId xmlns:a16="http://schemas.microsoft.com/office/drawing/2014/main" id="{BF995B37-7ED2-36D3-34DA-AD46C46E7B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039"/>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270C1B2-E9B5-79A1-F2FB-BA1826905C34}"/>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1F0D3093-61D9-21A2-B359-DFBB73A91D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648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EA895A9-0D5F-98D9-AA2F-DEA7E2D784BD}"/>
              </a:ext>
            </a:extLst>
          </p:cNvPr>
          <p:cNvPicPr/>
          <p:nvPr/>
        </p:nvPicPr>
        <p:blipFill>
          <a:blip r:embed="rId2"/>
          <a:stretch>
            <a:fillRect/>
          </a:stretch>
        </p:blipFill>
        <p:spPr>
          <a:xfrm>
            <a:off x="144255" y="1783083"/>
            <a:ext cx="5304045" cy="3799114"/>
          </a:xfrm>
          <a:prstGeom prst="rect">
            <a:avLst/>
          </a:prstGeom>
        </p:spPr>
      </p:pic>
      <p:pic>
        <p:nvPicPr>
          <p:cNvPr id="7" name="Picture 6" descr="Chart, map&#10;&#10;Description automatically generated">
            <a:extLst>
              <a:ext uri="{FF2B5EF4-FFF2-40B4-BE49-F238E27FC236}">
                <a16:creationId xmlns:a16="http://schemas.microsoft.com/office/drawing/2014/main" id="{0031D4AA-4B4F-FC41-EC11-5653E49324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8589"/>
            <a:ext cx="6408946" cy="453213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DF635DB-2CDA-D617-ED50-D27368691890}"/>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with medium confidence">
            <a:extLst>
              <a:ext uri="{FF2B5EF4-FFF2-40B4-BE49-F238E27FC236}">
                <a16:creationId xmlns:a16="http://schemas.microsoft.com/office/drawing/2014/main" id="{75728829-C6BA-7588-2502-4E14AB1443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5776"/>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07956D5-8BDF-25A3-08FF-1DFE4E0B1D4A}"/>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9BC7FC7B-450B-21BB-0E5A-A711F80D13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150"/>
            <a:ext cx="6400800"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CE7FA3C0-E96F-085F-3827-577A1FAE0861}"/>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09883F6E-DC4F-735F-5AFC-D4E23600C9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4319"/>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B0EA20B9-E61B-B3E0-A250-663D904DB733}"/>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FE4544DF-F436-37E6-3A93-BDE7BD72DE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43" y="1435692"/>
            <a:ext cx="6396846" cy="4523575"/>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DF40CA54-ACFC-2378-DA4B-E27021659596}"/>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D5741089-E8D8-D78E-71CB-BBAABB6A95B8}"/>
              </a:ext>
            </a:extLst>
          </p:cNvPr>
          <p:cNvPicPr/>
          <p:nvPr/>
        </p:nvPicPr>
        <p:blipFill>
          <a:blip r:embed="rId2"/>
          <a:stretch>
            <a:fillRect/>
          </a:stretch>
        </p:blipFill>
        <p:spPr>
          <a:xfrm>
            <a:off x="161358" y="1777637"/>
            <a:ext cx="5299487" cy="3795849"/>
          </a:xfrm>
          <a:prstGeom prst="rect">
            <a:avLst/>
          </a:prstGeom>
        </p:spPr>
      </p:pic>
      <p:pic>
        <p:nvPicPr>
          <p:cNvPr id="8" name="Picture 7" descr="Chart, map&#10;&#10;Description automatically generated">
            <a:extLst>
              <a:ext uri="{FF2B5EF4-FFF2-40B4-BE49-F238E27FC236}">
                <a16:creationId xmlns:a16="http://schemas.microsoft.com/office/drawing/2014/main" id="{3847D2B2-1917-01AF-8C79-D371FE82AD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5776"/>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80E69EB4-BF7C-D3C5-4A99-6BCAAF7EB3CF}"/>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E53936F-2615-9879-7546-3882FBBEA161}"/>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F446E76-0098-6EDE-CE9C-AB93D4440713}"/>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2131773"/>
            <a:ext cx="1198148" cy="2294485"/>
            <a:chOff x="2775759" y="2197525"/>
            <a:chExt cx="1198148" cy="2294485"/>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91440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21975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2197525"/>
              <a:ext cx="0" cy="71688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806958"/>
              <a:ext cx="0" cy="68505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45449" y="1708834"/>
            <a:ext cx="1198148" cy="1906322"/>
            <a:chOff x="10485745" y="2316724"/>
            <a:chExt cx="1198148" cy="1906322"/>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2914515"/>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6</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22304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31672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316724"/>
              <a:ext cx="0" cy="59779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807067"/>
              <a:ext cx="0" cy="41597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2343797"/>
            <a:ext cx="1198148" cy="2025727"/>
            <a:chOff x="2775759" y="2466283"/>
            <a:chExt cx="1198148" cy="2025727"/>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88805"/>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4662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466283"/>
              <a:ext cx="0" cy="5225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69640" y="1817356"/>
            <a:ext cx="1198148" cy="2008308"/>
            <a:chOff x="2775759" y="2536499"/>
            <a:chExt cx="1198148" cy="2008308"/>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08285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53649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536499"/>
              <a:ext cx="0" cy="54635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975410"/>
              <a:ext cx="0" cy="56939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5DB55BA3-8DFB-826A-C2E3-92A40343B63B}"/>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57A9C9B1-D29D-FD26-4739-96058BF51248}"/>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419DB18-6C5D-71FD-F20B-AD84E4335268}"/>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FC23FF90-5C39-1F2E-D5CB-DA298F6F4697}"/>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D3FAE1B-9D28-AEA2-8E2F-97098401FDA4}"/>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1364CD8-F6C9-6340-7A0E-BD5813AF10BF}"/>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E02BBEEF-112F-F4E4-F9BF-34DBCDB06C2C}"/>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43BB457D-C156-9017-9C50-8AE264787FE4}"/>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68</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80</cp:revision>
  <dcterms:created xsi:type="dcterms:W3CDTF">2022-07-04T13:32:28Z</dcterms:created>
  <dcterms:modified xsi:type="dcterms:W3CDTF">2023-03-16T22:59:50Z</dcterms:modified>
</cp:coreProperties>
</file>